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i Sreeja, Bhanothu" userId="24a7015f-2e72-46bc-a8e4-53e7cbf1d9a8" providerId="ADAL" clId="{5BB7472A-059B-4AEA-8B7F-1B797ED316A3}"/>
    <pc:docChg chg="modSld">
      <pc:chgData name="Sai Sreeja, Bhanothu" userId="24a7015f-2e72-46bc-a8e4-53e7cbf1d9a8" providerId="ADAL" clId="{5BB7472A-059B-4AEA-8B7F-1B797ED316A3}" dt="2022-03-24T06:34:14.571" v="61" actId="1076"/>
      <pc:docMkLst>
        <pc:docMk/>
      </pc:docMkLst>
      <pc:sldChg chg="addSp modSp mod">
        <pc:chgData name="Sai Sreeja, Bhanothu" userId="24a7015f-2e72-46bc-a8e4-53e7cbf1d9a8" providerId="ADAL" clId="{5BB7472A-059B-4AEA-8B7F-1B797ED316A3}" dt="2022-03-24T06:34:14.571" v="61" actId="1076"/>
        <pc:sldMkLst>
          <pc:docMk/>
          <pc:sldMk cId="0" sldId="560"/>
        </pc:sldMkLst>
        <pc:spChg chg="mod">
          <ac:chgData name="Sai Sreeja, Bhanothu" userId="24a7015f-2e72-46bc-a8e4-53e7cbf1d9a8" providerId="ADAL" clId="{5BB7472A-059B-4AEA-8B7F-1B797ED316A3}" dt="2022-03-24T06:34:04.968" v="59" actId="14100"/>
          <ac:spMkLst>
            <pc:docMk/>
            <pc:sldMk cId="0" sldId="560"/>
            <ac:spMk id="7180" creationId="{273FF0AF-5E94-435C-8A2A-7A7CA0FE36A6}"/>
          </ac:spMkLst>
        </pc:spChg>
        <pc:picChg chg="add mod">
          <ac:chgData name="Sai Sreeja, Bhanothu" userId="24a7015f-2e72-46bc-a8e4-53e7cbf1d9a8" providerId="ADAL" clId="{5BB7472A-059B-4AEA-8B7F-1B797ED316A3}" dt="2022-03-24T06:34:10.907" v="60" actId="1076"/>
          <ac:picMkLst>
            <pc:docMk/>
            <pc:sldMk cId="0" sldId="560"/>
            <ac:picMk id="15" creationId="{6ED59C33-D4B9-49CF-B311-3043D86BEA08}"/>
          </ac:picMkLst>
        </pc:picChg>
        <pc:picChg chg="mod modCrop">
          <ac:chgData name="Sai Sreeja, Bhanothu" userId="24a7015f-2e72-46bc-a8e4-53e7cbf1d9a8" providerId="ADAL" clId="{5BB7472A-059B-4AEA-8B7F-1B797ED316A3}" dt="2022-03-14T07:03:35.164" v="20" actId="1076"/>
          <ac:picMkLst>
            <pc:docMk/>
            <pc:sldMk cId="0" sldId="560"/>
            <ac:picMk id="16" creationId="{4A419D02-F85C-4135-8E28-E89F1881EF03}"/>
          </ac:picMkLst>
        </pc:picChg>
        <pc:picChg chg="mod">
          <ac:chgData name="Sai Sreeja, Bhanothu" userId="24a7015f-2e72-46bc-a8e4-53e7cbf1d9a8" providerId="ADAL" clId="{5BB7472A-059B-4AEA-8B7F-1B797ED316A3}" dt="2022-03-24T06:34:14.571" v="61" actId="1076"/>
          <ac:picMkLst>
            <pc:docMk/>
            <pc:sldMk cId="0" sldId="560"/>
            <ac:picMk id="7179" creationId="{12618B16-99B6-4F89-A145-C5939A93831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4/03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4/03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hyperlink" Target="mailto:Bhanothu.sai-sreeja@capgemini.com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hyperlink" Target="https://github.com/saisreeja30/resume.git" TargetMode="External"/><Relationship Id="rId9" Type="http://schemas.openxmlformats.org/officeDocument/2006/relationships/hyperlink" Target="https://github.com/saisreeja30/Case-Study.gi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11725" y="2995614"/>
            <a:ext cx="3943804" cy="3598860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Flight Booking System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end to end case study of Flight Booking System Application along with JWT authentication, Swagger and payment testing using Braintree in MERN Stack.</a:t>
            </a:r>
            <a:r>
              <a:rPr lang="en-US" altLang="en-US" sz="1100" dirty="0"/>
              <a:t> Material-UI and React Bootstrap used for user interface.</a:t>
            </a: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r>
              <a:rPr lang="en-IN" altLang="nl-NL" sz="1100" b="1" dirty="0"/>
              <a:t>HTML, CSS, JAVASCRIPT for web developers at Coursera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this course with 98.6% and Designed responsive Restaurant website using HTML5 CSS3 Bootstrap and JavaScript.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b="1" dirty="0"/>
              <a:t>Angular, Spring Boot and MongoDB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Learned and completed all the concepts of Frontend, Middleware and Backend at Capgemini Degreed Platform.</a:t>
            </a:r>
            <a:endParaRPr lang="en-IN" altLang="en-US" sz="11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Bhanothu.sai-sreeja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9100077669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4"/>
            <a:ext cx="4057650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Java Microservices Development using Spring Boot and Angular on an intermediate level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omputer Science : 2016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8 /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Angular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Sai Sreeja Bhanothu</a:t>
            </a:r>
          </a:p>
        </p:txBody>
      </p:sp>
      <p:pic>
        <p:nvPicPr>
          <p:cNvPr id="7179" name="Picture 7">
            <a:hlinkClick r:id="rId4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17404" y="6060115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892" y="6165054"/>
            <a:ext cx="359251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 and video profile 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6" name="Picture Placeholder 15" descr="A picture containing text, person, posing, picture frame&#10;&#10;Description automatically generated">
            <a:extLst>
              <a:ext uri="{FF2B5EF4-FFF2-40B4-BE49-F238E27FC236}">
                <a16:creationId xmlns:a16="http://schemas.microsoft.com/office/drawing/2014/main" id="{4A419D02-F85C-4135-8E28-E89F1881EF03}"/>
              </a:ext>
            </a:extLst>
          </p:cNvPr>
          <p:cNvPicPr preferRelativeResize="0">
            <a:picLocks noGrp="1" noChangeAspect="1"/>
          </p:cNvPicPr>
          <p:nvPr>
            <p:ph type="pic" sz="quarter" idx="46"/>
          </p:nvPr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364" t="11299" r="11364" b="11299"/>
          <a:stretch/>
        </p:blipFill>
        <p:spPr>
          <a:xfrm>
            <a:off x="453148" y="93163"/>
            <a:ext cx="1836000" cy="1922661"/>
          </a:xfrm>
        </p:spPr>
      </p:pic>
      <p:pic>
        <p:nvPicPr>
          <p:cNvPr id="15" name="Picture 6" descr="Movie, play, video icon">
            <a:hlinkClick r:id="rId9"/>
            <a:extLst>
              <a:ext uri="{FF2B5EF4-FFF2-40B4-BE49-F238E27FC236}">
                <a16:creationId xmlns:a16="http://schemas.microsoft.com/office/drawing/2014/main" id="{6ED59C33-D4B9-49CF-B311-3043D86BE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2906" y="6060115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339</TotalTime>
  <Words>250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Sai Sreeja, Bhanothu</cp:lastModifiedBy>
  <cp:revision>110</cp:revision>
  <dcterms:created xsi:type="dcterms:W3CDTF">2017-12-08T05:27:40Z</dcterms:created>
  <dcterms:modified xsi:type="dcterms:W3CDTF">2022-03-24T06:3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